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2" r:id="rId1"/>
  </p:sldMasterIdLst>
  <p:sldIdLst>
    <p:sldId id="256" r:id="rId2"/>
    <p:sldId id="258" r:id="rId3"/>
    <p:sldId id="259" r:id="rId4"/>
    <p:sldId id="273" r:id="rId5"/>
    <p:sldId id="260" r:id="rId6"/>
    <p:sldId id="264" r:id="rId7"/>
    <p:sldId id="265" r:id="rId8"/>
    <p:sldId id="266" r:id="rId9"/>
    <p:sldId id="261" r:id="rId10"/>
    <p:sldId id="262" r:id="rId11"/>
    <p:sldId id="274" r:id="rId12"/>
    <p:sldId id="267" r:id="rId13"/>
    <p:sldId id="268" r:id="rId14"/>
    <p:sldId id="269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w Luong" initials="AL" lastIdx="1" clrIdx="0">
    <p:extLst>
      <p:ext uri="{19B8F6BF-5375-455C-9EA6-DF929625EA0E}">
        <p15:presenceInfo xmlns:p15="http://schemas.microsoft.com/office/powerpoint/2012/main" userId="S::Andrew.Luong@havi.com::b984aff7-fac5-4d19-9925-c3f3b07c04b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C01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7" autoAdjust="0"/>
    <p:restoredTop sz="94660"/>
  </p:normalViewPr>
  <p:slideViewPr>
    <p:cSldViewPr snapToGrid="0">
      <p:cViewPr varScale="1">
        <p:scale>
          <a:sx n="86" d="100"/>
          <a:sy n="86" d="100"/>
        </p:scale>
        <p:origin x="42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12192000" cy="4572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2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49814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7099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0053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4858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12192000" cy="45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2" y="5264106"/>
            <a:ext cx="0" cy="9144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0799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8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845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2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 lIns="45720" rIns="4572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89320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89320" y="2967788"/>
            <a:ext cx="4754880" cy="3341572"/>
          </a:xfrm>
        </p:spPr>
        <p:txBody>
          <a:bodyPr lIns="45720" rIns="4572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5521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76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4321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32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8386842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68470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1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8" y="6470704"/>
            <a:ext cx="2154142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fld id="{7B3A257D-E80E-4085-B149-8C568522B177}" type="datetimeFigureOut">
              <a:rPr lang="en-US" smtClean="0"/>
              <a:t>3/1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4" y="6470704"/>
            <a:ext cx="973666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fld id="{9A23F123-0092-483C-9115-30F9B00EC0FC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715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0000"/>
              <a:lumOff val="10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2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3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7.xml"/><Relationship Id="rId7" Type="http://schemas.openxmlformats.org/officeDocument/2006/relationships/image" Target="../media/image1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113286-0ECA-44A3-9642-0F3CEC6241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3931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AA1CAD0-B6BF-417D-9028-69A0C61D12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C07B0E-707A-4CC3-A7E5-E6E236596F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5171" y="981159"/>
            <a:ext cx="8647738" cy="2131543"/>
          </a:xfrm>
        </p:spPr>
        <p:txBody>
          <a:bodyPr>
            <a:normAutofit/>
          </a:bodyPr>
          <a:lstStyle/>
          <a:p>
            <a:pPr algn="l"/>
            <a:r>
              <a:rPr lang="en-US" sz="6600" dirty="0">
                <a:solidFill>
                  <a:schemeClr val="bg1"/>
                </a:solidFill>
              </a:rPr>
              <a:t>Forecasting Food Service Shipment Demand Case Study</a:t>
            </a:r>
            <a:br>
              <a:rPr lang="en-US" sz="66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Time Series Analysis and Forecasting for Shipment Data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028" name="Picture 4" descr="Related image">
            <a:extLst>
              <a:ext uri="{FF2B5EF4-FFF2-40B4-BE49-F238E27FC236}">
                <a16:creationId xmlns:a16="http://schemas.microsoft.com/office/drawing/2014/main" id="{8A14A4A1-3CD8-4458-96A3-52F9FB2D1C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99" y="899160"/>
            <a:ext cx="2681312" cy="271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B690A50-7596-49C7-A2C4-4E5CA69483E6}"/>
              </a:ext>
            </a:extLst>
          </p:cNvPr>
          <p:cNvSpPr txBox="1">
            <a:spLocks/>
          </p:cNvSpPr>
          <p:nvPr/>
        </p:nvSpPr>
        <p:spPr>
          <a:xfrm>
            <a:off x="3017520" y="4960137"/>
            <a:ext cx="3200400" cy="14630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+mj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00F8327-FE3A-4DB0-9F46-989BE0F53090}"/>
              </a:ext>
            </a:extLst>
          </p:cNvPr>
          <p:cNvSpPr/>
          <p:nvPr/>
        </p:nvSpPr>
        <p:spPr>
          <a:xfrm>
            <a:off x="1304092" y="5292502"/>
            <a:ext cx="662725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0"/>
              </a:spcAft>
            </a:pPr>
            <a:r>
              <a:rPr lang="en-US" sz="2800" dirty="0">
                <a:latin typeface="+mj-lt"/>
              </a:rPr>
              <a:t>Presented By:</a:t>
            </a:r>
          </a:p>
          <a:p>
            <a:pPr algn="ctr"/>
            <a:r>
              <a:rPr lang="en-US" sz="2800" dirty="0">
                <a:latin typeface="+mj-lt"/>
              </a:rPr>
              <a:t>Annie Phan | Andrew J. Luong | Venku Buragadda 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C028BD4-E891-4AD4-B166-8EDF7DCDCB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42664" y="5292502"/>
            <a:ext cx="3749336" cy="830997"/>
          </a:xfrm>
        </p:spPr>
        <p:txBody>
          <a:bodyPr anchor="t">
            <a:noAutofit/>
          </a:bodyPr>
          <a:lstStyle/>
          <a:p>
            <a:pPr lvl="0" algn="ctr">
              <a:spcAft>
                <a:spcPts val="0"/>
              </a:spcAft>
            </a:pPr>
            <a:r>
              <a:rPr lang="en-US" sz="2800" dirty="0">
                <a:latin typeface="+mj-lt"/>
              </a:rPr>
              <a:t>Audience:</a:t>
            </a:r>
          </a:p>
          <a:p>
            <a:pPr lvl="0" algn="ctr">
              <a:spcAft>
                <a:spcPts val="0"/>
              </a:spcAft>
            </a:pPr>
            <a:r>
              <a:rPr lang="en-US" sz="2800" dirty="0">
                <a:latin typeface="+mj-lt"/>
              </a:rPr>
              <a:t>MSCA 31006 Time Series Analysis</a:t>
            </a:r>
          </a:p>
          <a:p>
            <a:pPr algn="ctr"/>
            <a:endParaRPr lang="en-US" sz="2800" dirty="0">
              <a:latin typeface="+mj-lt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53CC2408-8FFA-476B-B5F6-48D87BB0E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>
                <a:latin typeface="+mn-lt"/>
              </a:rPr>
              <a:pPr algn="r"/>
              <a:t>1</a:t>
            </a:fld>
            <a:endParaRPr lang="en-US" sz="1800" dirty="0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F33696-605D-45DB-B4BA-A0FFADA93668}"/>
              </a:ext>
            </a:extLst>
          </p:cNvPr>
          <p:cNvSpPr/>
          <p:nvPr/>
        </p:nvSpPr>
        <p:spPr>
          <a:xfrm>
            <a:off x="3017520" y="2970154"/>
            <a:ext cx="190975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</a:rPr>
              <a:t>MARCH 15, 2019</a:t>
            </a:r>
          </a:p>
        </p:txBody>
      </p:sp>
    </p:spTree>
    <p:extLst>
      <p:ext uri="{BB962C8B-B14F-4D97-AF65-F5344CB8AC3E}">
        <p14:creationId xmlns:p14="http://schemas.microsoft.com/office/powerpoint/2010/main" val="10542968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033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585216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/>
              <a:t>Cross Validation also us to refine the better model and affirms our initial hypothesi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6C209-7F94-4D7B-9C60-A976AE53AA89}"/>
              </a:ext>
            </a:extLst>
          </p:cNvPr>
          <p:cNvSpPr/>
          <p:nvPr/>
        </p:nvSpPr>
        <p:spPr>
          <a:xfrm>
            <a:off x="737288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6EB245-C02A-49B8-A777-89F6905BD6E0}"/>
              </a:ext>
            </a:extLst>
          </p:cNvPr>
          <p:cNvSpPr/>
          <p:nvPr/>
        </p:nvSpPr>
        <p:spPr>
          <a:xfrm>
            <a:off x="2390406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F47B9-13B4-44D8-A73E-5CA9E4E5C835}"/>
              </a:ext>
            </a:extLst>
          </p:cNvPr>
          <p:cNvSpPr/>
          <p:nvPr/>
        </p:nvSpPr>
        <p:spPr>
          <a:xfrm>
            <a:off x="4068185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4EDD8-6FEA-4144-8EDE-942EF7A107B9}"/>
              </a:ext>
            </a:extLst>
          </p:cNvPr>
          <p:cNvSpPr/>
          <p:nvPr/>
        </p:nvSpPr>
        <p:spPr>
          <a:xfrm>
            <a:off x="5721303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82BCD5-16E0-4285-8104-333991809349}"/>
              </a:ext>
            </a:extLst>
          </p:cNvPr>
          <p:cNvSpPr/>
          <p:nvPr/>
        </p:nvSpPr>
        <p:spPr>
          <a:xfrm>
            <a:off x="7386262" y="469805"/>
            <a:ext cx="1570465" cy="1154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B844B-0EB0-485A-91F7-E64B7F8989D6}"/>
              </a:ext>
            </a:extLst>
          </p:cNvPr>
          <p:cNvSpPr/>
          <p:nvPr/>
        </p:nvSpPr>
        <p:spPr>
          <a:xfrm>
            <a:off x="9039380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1E60A-9280-405D-A607-BAC09307E9EA}"/>
              </a:ext>
            </a:extLst>
          </p:cNvPr>
          <p:cNvSpPr txBox="1"/>
          <p:nvPr/>
        </p:nvSpPr>
        <p:spPr>
          <a:xfrm>
            <a:off x="772233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ti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ABEC29-B078-4989-B570-883C3C92AF43}"/>
              </a:ext>
            </a:extLst>
          </p:cNvPr>
          <p:cNvSpPr txBox="1"/>
          <p:nvPr/>
        </p:nvSpPr>
        <p:spPr>
          <a:xfrm>
            <a:off x="4089252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Selec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A9E69-119F-4FD5-8F4D-9DC4199D0B8E}"/>
              </a:ext>
            </a:extLst>
          </p:cNvPr>
          <p:cNvSpPr txBox="1"/>
          <p:nvPr/>
        </p:nvSpPr>
        <p:spPr>
          <a:xfrm>
            <a:off x="5707425" y="146228"/>
            <a:ext cx="1584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Evalu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3157F8-A116-46C7-94B8-27859E8F2D83}"/>
              </a:ext>
            </a:extLst>
          </p:cNvPr>
          <p:cNvSpPr txBox="1"/>
          <p:nvPr/>
        </p:nvSpPr>
        <p:spPr>
          <a:xfrm>
            <a:off x="7398103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Valid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2A1DDE-70C4-485B-812F-B9D2F04A6680}"/>
              </a:ext>
            </a:extLst>
          </p:cNvPr>
          <p:cNvSpPr txBox="1"/>
          <p:nvPr/>
        </p:nvSpPr>
        <p:spPr>
          <a:xfrm>
            <a:off x="9051221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Conclusion</a:t>
            </a:r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378C16C3-6465-476D-AA9C-996D0AEAC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10</a:t>
            </a:fld>
            <a:endParaRPr lang="en-US" sz="1800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03E4EDC-DC2C-4EFB-BA73-39D00D0DF4BA}"/>
              </a:ext>
            </a:extLst>
          </p:cNvPr>
          <p:cNvGrpSpPr/>
          <p:nvPr/>
        </p:nvGrpSpPr>
        <p:grpSpPr>
          <a:xfrm>
            <a:off x="370275" y="2867796"/>
            <a:ext cx="11451449" cy="3607332"/>
            <a:chOff x="508407" y="2463657"/>
            <a:chExt cx="10450827" cy="3292125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8B02A7F-FE5C-42FA-AD65-CDE2A3AE9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08407" y="2463657"/>
              <a:ext cx="5334462" cy="3292125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173D3A67-83E2-4C23-A476-CAE4FB57A4E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624772" y="2463657"/>
              <a:ext cx="5334462" cy="3292125"/>
            </a:xfrm>
            <a:prstGeom prst="rect">
              <a:avLst/>
            </a:prstGeom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F18220D9-9500-4E62-BB98-7EC3CDD91EFE}"/>
              </a:ext>
            </a:extLst>
          </p:cNvPr>
          <p:cNvSpPr txBox="1"/>
          <p:nvPr/>
        </p:nvSpPr>
        <p:spPr>
          <a:xfrm>
            <a:off x="737288" y="2084832"/>
            <a:ext cx="11135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Both in the MAE and RMSE, it shows the Regression with Arima Error outperforming both ETS and </a:t>
            </a:r>
            <a:r>
              <a:rPr lang="en-US" i="1" dirty="0" err="1"/>
              <a:t>sARIMA</a:t>
            </a:r>
            <a:r>
              <a:rPr lang="en-US" i="1" dirty="0"/>
              <a:t> with the lowest MAE and RMSE for all 7 horiz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B1534D9-6DAE-43F2-8639-E9214864BDA6}"/>
              </a:ext>
            </a:extLst>
          </p:cNvPr>
          <p:cNvSpPr txBox="1"/>
          <p:nvPr/>
        </p:nvSpPr>
        <p:spPr>
          <a:xfrm>
            <a:off x="2259574" y="146228"/>
            <a:ext cx="1877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ssumptions/Description</a:t>
            </a:r>
          </a:p>
        </p:txBody>
      </p:sp>
    </p:spTree>
    <p:extLst>
      <p:ext uri="{BB962C8B-B14F-4D97-AF65-F5344CB8AC3E}">
        <p14:creationId xmlns:p14="http://schemas.microsoft.com/office/powerpoint/2010/main" val="4246966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527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0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585216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 err="1"/>
              <a:t>AICc</a:t>
            </a:r>
            <a:r>
              <a:rPr lang="en-US" sz="4000" dirty="0"/>
              <a:t> Testing allows us to determine both ARIMA models are better than ETS in prediction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6C209-7F94-4D7B-9C60-A976AE53AA89}"/>
              </a:ext>
            </a:extLst>
          </p:cNvPr>
          <p:cNvSpPr/>
          <p:nvPr/>
        </p:nvSpPr>
        <p:spPr>
          <a:xfrm>
            <a:off x="737288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6EB245-C02A-49B8-A777-89F6905BD6E0}"/>
              </a:ext>
            </a:extLst>
          </p:cNvPr>
          <p:cNvSpPr/>
          <p:nvPr/>
        </p:nvSpPr>
        <p:spPr>
          <a:xfrm>
            <a:off x="2390406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F47B9-13B4-44D8-A73E-5CA9E4E5C835}"/>
              </a:ext>
            </a:extLst>
          </p:cNvPr>
          <p:cNvSpPr/>
          <p:nvPr/>
        </p:nvSpPr>
        <p:spPr>
          <a:xfrm>
            <a:off x="4068185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4EDD8-6FEA-4144-8EDE-942EF7A107B9}"/>
              </a:ext>
            </a:extLst>
          </p:cNvPr>
          <p:cNvSpPr/>
          <p:nvPr/>
        </p:nvSpPr>
        <p:spPr>
          <a:xfrm>
            <a:off x="5721303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82BCD5-16E0-4285-8104-333991809349}"/>
              </a:ext>
            </a:extLst>
          </p:cNvPr>
          <p:cNvSpPr/>
          <p:nvPr/>
        </p:nvSpPr>
        <p:spPr>
          <a:xfrm>
            <a:off x="7386262" y="469805"/>
            <a:ext cx="1570465" cy="1154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B844B-0EB0-485A-91F7-E64B7F8989D6}"/>
              </a:ext>
            </a:extLst>
          </p:cNvPr>
          <p:cNvSpPr/>
          <p:nvPr/>
        </p:nvSpPr>
        <p:spPr>
          <a:xfrm>
            <a:off x="9039380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1E60A-9280-405D-A607-BAC09307E9EA}"/>
              </a:ext>
            </a:extLst>
          </p:cNvPr>
          <p:cNvSpPr txBox="1"/>
          <p:nvPr/>
        </p:nvSpPr>
        <p:spPr>
          <a:xfrm>
            <a:off x="772233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ti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ABEC29-B078-4989-B570-883C3C92AF43}"/>
              </a:ext>
            </a:extLst>
          </p:cNvPr>
          <p:cNvSpPr txBox="1"/>
          <p:nvPr/>
        </p:nvSpPr>
        <p:spPr>
          <a:xfrm>
            <a:off x="4089252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Selec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A9E69-119F-4FD5-8F4D-9DC4199D0B8E}"/>
              </a:ext>
            </a:extLst>
          </p:cNvPr>
          <p:cNvSpPr txBox="1"/>
          <p:nvPr/>
        </p:nvSpPr>
        <p:spPr>
          <a:xfrm>
            <a:off x="5707425" y="146228"/>
            <a:ext cx="1584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Evalu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3157F8-A116-46C7-94B8-27859E8F2D83}"/>
              </a:ext>
            </a:extLst>
          </p:cNvPr>
          <p:cNvSpPr txBox="1"/>
          <p:nvPr/>
        </p:nvSpPr>
        <p:spPr>
          <a:xfrm>
            <a:off x="7398103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Valid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2A1DDE-70C4-485B-812F-B9D2F04A6680}"/>
              </a:ext>
            </a:extLst>
          </p:cNvPr>
          <p:cNvSpPr txBox="1"/>
          <p:nvPr/>
        </p:nvSpPr>
        <p:spPr>
          <a:xfrm>
            <a:off x="9051221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Conclusion</a:t>
            </a:r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378C16C3-6465-476D-AA9C-996D0AEAC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11</a:t>
            </a:fld>
            <a:endParaRPr lang="en-US" sz="1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3B2742-DC62-4D72-A5DA-0B51607BA15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9910"/>
          <a:stretch/>
        </p:blipFill>
        <p:spPr>
          <a:xfrm>
            <a:off x="2390406" y="2984365"/>
            <a:ext cx="7060793" cy="387363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3ED490-6542-4911-B4B9-8EB6253B691E}"/>
              </a:ext>
            </a:extLst>
          </p:cNvPr>
          <p:cNvSpPr txBox="1"/>
          <p:nvPr/>
        </p:nvSpPr>
        <p:spPr>
          <a:xfrm>
            <a:off x="737288" y="1993392"/>
            <a:ext cx="108959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With both the </a:t>
            </a:r>
            <a:r>
              <a:rPr lang="en-US" i="1" dirty="0" err="1"/>
              <a:t>sARIMA</a:t>
            </a:r>
            <a:r>
              <a:rPr lang="en-US" i="1" dirty="0"/>
              <a:t> and Regression with ARIMA error overlapping each other, there is no real difference between the two models from a complexity standpoint. The Regression with Arima Error is slightly more complex given the regression, but that complexity penalty is negligible. 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51C8F39-D7D2-49C8-BFE0-C6BD664FFA0F}"/>
              </a:ext>
            </a:extLst>
          </p:cNvPr>
          <p:cNvSpPr txBox="1"/>
          <p:nvPr/>
        </p:nvSpPr>
        <p:spPr>
          <a:xfrm>
            <a:off x="2259574" y="146228"/>
            <a:ext cx="1877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ssumptions/Description</a:t>
            </a:r>
          </a:p>
        </p:txBody>
      </p:sp>
    </p:spTree>
    <p:extLst>
      <p:ext uri="{BB962C8B-B14F-4D97-AF65-F5344CB8AC3E}">
        <p14:creationId xmlns:p14="http://schemas.microsoft.com/office/powerpoint/2010/main" val="37601024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93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585216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/>
              <a:t>Choosing SARIMA as a Model FORECAST ALLOW us to best forecast shipment on a daily basi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6C209-7F94-4D7B-9C60-A976AE53AA89}"/>
              </a:ext>
            </a:extLst>
          </p:cNvPr>
          <p:cNvSpPr/>
          <p:nvPr/>
        </p:nvSpPr>
        <p:spPr>
          <a:xfrm>
            <a:off x="737288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6EB245-C02A-49B8-A777-89F6905BD6E0}"/>
              </a:ext>
            </a:extLst>
          </p:cNvPr>
          <p:cNvSpPr/>
          <p:nvPr/>
        </p:nvSpPr>
        <p:spPr>
          <a:xfrm>
            <a:off x="2390406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F47B9-13B4-44D8-A73E-5CA9E4E5C835}"/>
              </a:ext>
            </a:extLst>
          </p:cNvPr>
          <p:cNvSpPr/>
          <p:nvPr/>
        </p:nvSpPr>
        <p:spPr>
          <a:xfrm>
            <a:off x="4068185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4EDD8-6FEA-4144-8EDE-942EF7A107B9}"/>
              </a:ext>
            </a:extLst>
          </p:cNvPr>
          <p:cNvSpPr/>
          <p:nvPr/>
        </p:nvSpPr>
        <p:spPr>
          <a:xfrm>
            <a:off x="5721303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82BCD5-16E0-4285-8104-333991809349}"/>
              </a:ext>
            </a:extLst>
          </p:cNvPr>
          <p:cNvSpPr/>
          <p:nvPr/>
        </p:nvSpPr>
        <p:spPr>
          <a:xfrm>
            <a:off x="7386262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B844B-0EB0-485A-91F7-E64B7F8989D6}"/>
              </a:ext>
            </a:extLst>
          </p:cNvPr>
          <p:cNvSpPr/>
          <p:nvPr/>
        </p:nvSpPr>
        <p:spPr>
          <a:xfrm>
            <a:off x="9039380" y="469805"/>
            <a:ext cx="1570465" cy="1154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1E60A-9280-405D-A607-BAC09307E9EA}"/>
              </a:ext>
            </a:extLst>
          </p:cNvPr>
          <p:cNvSpPr txBox="1"/>
          <p:nvPr/>
        </p:nvSpPr>
        <p:spPr>
          <a:xfrm>
            <a:off x="772233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ti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ABEC29-B078-4989-B570-883C3C92AF43}"/>
              </a:ext>
            </a:extLst>
          </p:cNvPr>
          <p:cNvSpPr txBox="1"/>
          <p:nvPr/>
        </p:nvSpPr>
        <p:spPr>
          <a:xfrm>
            <a:off x="4089252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Selection</a:t>
            </a: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176997CD-3647-41E3-9FBB-F36A04127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12</a:t>
            </a:fld>
            <a:endParaRPr lang="en-US" sz="18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A9E69-119F-4FD5-8F4D-9DC4199D0B8E}"/>
              </a:ext>
            </a:extLst>
          </p:cNvPr>
          <p:cNvSpPr txBox="1"/>
          <p:nvPr/>
        </p:nvSpPr>
        <p:spPr>
          <a:xfrm>
            <a:off x="5707425" y="146228"/>
            <a:ext cx="1584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Evalu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3157F8-A116-46C7-94B8-27859E8F2D83}"/>
              </a:ext>
            </a:extLst>
          </p:cNvPr>
          <p:cNvSpPr txBox="1"/>
          <p:nvPr/>
        </p:nvSpPr>
        <p:spPr>
          <a:xfrm>
            <a:off x="7398103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Valid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2A1DDE-70C4-485B-812F-B9D2F04A6680}"/>
              </a:ext>
            </a:extLst>
          </p:cNvPr>
          <p:cNvSpPr txBox="1"/>
          <p:nvPr/>
        </p:nvSpPr>
        <p:spPr>
          <a:xfrm>
            <a:off x="9051221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Conclus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1E7C98-D94C-4819-9294-B8F17142D405}"/>
              </a:ext>
            </a:extLst>
          </p:cNvPr>
          <p:cNvSpPr txBox="1"/>
          <p:nvPr/>
        </p:nvSpPr>
        <p:spPr>
          <a:xfrm>
            <a:off x="737288" y="2084832"/>
            <a:ext cx="11357086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[Results] - Model Summary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hosen Model: </a:t>
            </a:r>
            <a:r>
              <a:rPr lang="en-US" sz="2400" b="1" dirty="0"/>
              <a:t>Regression with Arima Error </a:t>
            </a:r>
            <a:r>
              <a:rPr lang="en-US" sz="2400" dirty="0"/>
              <a:t>given similar </a:t>
            </a:r>
            <a:r>
              <a:rPr lang="en-US" sz="2400" dirty="0" err="1"/>
              <a:t>AICc</a:t>
            </a:r>
            <a:r>
              <a:rPr lang="en-US" sz="2400" dirty="0"/>
              <a:t> but lower MAE, RMSE than </a:t>
            </a:r>
            <a:r>
              <a:rPr lang="en-US" sz="2400" dirty="0" err="1"/>
              <a:t>sARIMA</a:t>
            </a:r>
            <a:r>
              <a:rPr lang="en-US" sz="2400" dirty="0"/>
              <a:t> model; thus, the preferred metho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rom a business perspective, </a:t>
            </a:r>
            <a:r>
              <a:rPr lang="en-US" sz="2400" b="1" dirty="0" err="1"/>
              <a:t>sARIMA</a:t>
            </a:r>
            <a:r>
              <a:rPr lang="en-US" sz="2400" b="1" dirty="0"/>
              <a:t> model </a:t>
            </a:r>
            <a:r>
              <a:rPr lang="en-US" sz="2400" dirty="0"/>
              <a:t>would still be viable and might be preferred since it requires less data on total route distance on a daily basi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r>
              <a:rPr lang="en-US" sz="2400" b="1" dirty="0"/>
              <a:t>[Future Work] - Improving Forecasting Abilit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Huge potential for regression model on different predicators that may be better indicators for shipment data such as restaurant traffic data (common sense would dictate a better predicator to show demand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ould benefit with increased time range into 2 years to show the seasonality of the months as well that could impact the forecast</a:t>
            </a:r>
          </a:p>
          <a:p>
            <a:endParaRPr lang="en-US" sz="24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94137D1-25E1-4192-96EF-53EE7CF14E14}"/>
              </a:ext>
            </a:extLst>
          </p:cNvPr>
          <p:cNvSpPr txBox="1"/>
          <p:nvPr/>
        </p:nvSpPr>
        <p:spPr>
          <a:xfrm>
            <a:off x="2259574" y="146228"/>
            <a:ext cx="1877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ssumptions/Description</a:t>
            </a:r>
          </a:p>
        </p:txBody>
      </p:sp>
    </p:spTree>
    <p:extLst>
      <p:ext uri="{BB962C8B-B14F-4D97-AF65-F5344CB8AC3E}">
        <p14:creationId xmlns:p14="http://schemas.microsoft.com/office/powerpoint/2010/main" val="38744401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56BB53-BA3C-4AE3-AC77-F19228EB90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1997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E658EF-86E9-43FC-BCF6-E1BD7CB9D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945C32F-8935-4916-AD33-9F7D4B718D71}"/>
              </a:ext>
            </a:extLst>
          </p:cNvPr>
          <p:cNvSpPr txBox="1">
            <a:spLocks/>
          </p:cNvSpPr>
          <p:nvPr/>
        </p:nvSpPr>
        <p:spPr>
          <a:xfrm>
            <a:off x="8442664" y="5292502"/>
            <a:ext cx="3749336" cy="8309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2800" dirty="0">
                <a:latin typeface="+mj-lt"/>
              </a:rPr>
              <a:t>Supply Chain Shipment Forecasting Case Study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51FD52EA-CF26-4693-9CB5-BD3B278F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13</a:t>
            </a:fld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193633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81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344051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/>
              <a:t>Case Study Final Project Roles and Responsibility </a:t>
            </a: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176997CD-3647-41E3-9FBB-F36A04127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14</a:t>
            </a:fld>
            <a:endParaRPr lang="en-US" sz="180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4165A61-6778-40F9-9B35-FA02DAF2B6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106252"/>
              </p:ext>
            </p:extLst>
          </p:nvPr>
        </p:nvGraphicFramePr>
        <p:xfrm>
          <a:off x="706119" y="1438540"/>
          <a:ext cx="11135361" cy="515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69362">
                  <a:extLst>
                    <a:ext uri="{9D8B030D-6E8A-4147-A177-3AD203B41FA5}">
                      <a16:colId xmlns:a16="http://schemas.microsoft.com/office/drawing/2014/main" val="139104986"/>
                    </a:ext>
                  </a:extLst>
                </a:gridCol>
                <a:gridCol w="2455333">
                  <a:extLst>
                    <a:ext uri="{9D8B030D-6E8A-4147-A177-3AD203B41FA5}">
                      <a16:colId xmlns:a16="http://schemas.microsoft.com/office/drawing/2014/main" val="3586980862"/>
                    </a:ext>
                  </a:extLst>
                </a:gridCol>
                <a:gridCol w="2455333">
                  <a:extLst>
                    <a:ext uri="{9D8B030D-6E8A-4147-A177-3AD203B41FA5}">
                      <a16:colId xmlns:a16="http://schemas.microsoft.com/office/drawing/2014/main" val="2999723568"/>
                    </a:ext>
                  </a:extLst>
                </a:gridCol>
                <a:gridCol w="2455333">
                  <a:extLst>
                    <a:ext uri="{9D8B030D-6E8A-4147-A177-3AD203B41FA5}">
                      <a16:colId xmlns:a16="http://schemas.microsoft.com/office/drawing/2014/main" val="3123709909"/>
                    </a:ext>
                  </a:extLst>
                </a:gridCol>
              </a:tblGrid>
              <a:tr h="305260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latin typeface="+mj-lt"/>
                        </a:rPr>
                        <a:t>Ta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latin typeface="+mj-lt"/>
                        </a:rPr>
                        <a:t>Annie Ph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latin typeface="+mj-lt"/>
                        </a:rPr>
                        <a:t>Andrew Luo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latin typeface="+mj-lt"/>
                        </a:rPr>
                        <a:t>Venku </a:t>
                      </a:r>
                      <a:r>
                        <a:rPr lang="en-US" sz="20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Buragadda</a:t>
                      </a:r>
                      <a:endParaRPr lang="en-US" sz="2000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396354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Topic Sel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7899561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Data Cleaning and Pr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1326964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Data Valid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3546949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ETS Modeling*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806990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ETS Validation</a:t>
                      </a:r>
                    </a:p>
                  </a:txBody>
                  <a:tcPr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0959873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err="1">
                          <a:latin typeface="+mj-lt"/>
                        </a:rPr>
                        <a:t>sARIMA</a:t>
                      </a:r>
                      <a:r>
                        <a:rPr lang="en-US" sz="1800" b="0" dirty="0">
                          <a:latin typeface="+mj-lt"/>
                        </a:rPr>
                        <a:t> Modeling*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371937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err="1">
                          <a:latin typeface="+mj-lt"/>
                        </a:rPr>
                        <a:t>sARIMA</a:t>
                      </a:r>
                      <a:r>
                        <a:rPr lang="en-US" sz="1800" b="0" dirty="0">
                          <a:latin typeface="+mj-lt"/>
                        </a:rPr>
                        <a:t> Validation</a:t>
                      </a:r>
                    </a:p>
                  </a:txBody>
                  <a:tcPr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>
                    <a:lnT w="127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424878811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Reg with Arima Error Modeling*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6083832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Reg with Arima Error Valid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1825428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Cross Valid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9108013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Deck Template Layo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2902749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Analysis and Comment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126552"/>
                  </a:ext>
                </a:extLst>
              </a:tr>
              <a:tr h="281778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R Markdown Comp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+mj-lt"/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65340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1E6C190-2F78-4501-8693-96A9268DF206}"/>
              </a:ext>
            </a:extLst>
          </p:cNvPr>
          <p:cNvSpPr txBox="1"/>
          <p:nvPr/>
        </p:nvSpPr>
        <p:spPr>
          <a:xfrm>
            <a:off x="589280" y="6513460"/>
            <a:ext cx="11369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*Please note that in modeling and validation, we took an approach to have two of three model with the last one as an external validation</a:t>
            </a:r>
          </a:p>
        </p:txBody>
      </p:sp>
    </p:spTree>
    <p:extLst>
      <p:ext uri="{BB962C8B-B14F-4D97-AF65-F5344CB8AC3E}">
        <p14:creationId xmlns:p14="http://schemas.microsoft.com/office/powerpoint/2010/main" val="4204782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808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i="1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585216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/>
              <a:t>Accurate Forecasting of Food Service Demand Enable better </a:t>
            </a:r>
            <a:r>
              <a:rPr lang="en-US" sz="4000" i="1" dirty="0"/>
              <a:t>Service Level </a:t>
            </a:r>
            <a:r>
              <a:rPr lang="en-US" sz="4000" dirty="0"/>
              <a:t>and </a:t>
            </a:r>
            <a:r>
              <a:rPr lang="en-US" sz="4000" i="1" dirty="0"/>
              <a:t>Resource alloc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6C209-7F94-4D7B-9C60-A976AE53AA89}"/>
              </a:ext>
            </a:extLst>
          </p:cNvPr>
          <p:cNvSpPr/>
          <p:nvPr/>
        </p:nvSpPr>
        <p:spPr>
          <a:xfrm>
            <a:off x="737288" y="469805"/>
            <a:ext cx="1570465" cy="1154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6EB245-C02A-49B8-A777-89F6905BD6E0}"/>
              </a:ext>
            </a:extLst>
          </p:cNvPr>
          <p:cNvSpPr/>
          <p:nvPr/>
        </p:nvSpPr>
        <p:spPr>
          <a:xfrm>
            <a:off x="2390406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F47B9-13B4-44D8-A73E-5CA9E4E5C835}"/>
              </a:ext>
            </a:extLst>
          </p:cNvPr>
          <p:cNvSpPr/>
          <p:nvPr/>
        </p:nvSpPr>
        <p:spPr>
          <a:xfrm>
            <a:off x="4068185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4EDD8-6FEA-4144-8EDE-942EF7A107B9}"/>
              </a:ext>
            </a:extLst>
          </p:cNvPr>
          <p:cNvSpPr/>
          <p:nvPr/>
        </p:nvSpPr>
        <p:spPr>
          <a:xfrm>
            <a:off x="5721303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82BCD5-16E0-4285-8104-333991809349}"/>
              </a:ext>
            </a:extLst>
          </p:cNvPr>
          <p:cNvSpPr/>
          <p:nvPr/>
        </p:nvSpPr>
        <p:spPr>
          <a:xfrm>
            <a:off x="7386262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B844B-0EB0-485A-91F7-E64B7F8989D6}"/>
              </a:ext>
            </a:extLst>
          </p:cNvPr>
          <p:cNvSpPr/>
          <p:nvPr/>
        </p:nvSpPr>
        <p:spPr>
          <a:xfrm>
            <a:off x="9039380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1E60A-9280-405D-A607-BAC09307E9EA}"/>
              </a:ext>
            </a:extLst>
          </p:cNvPr>
          <p:cNvSpPr txBox="1"/>
          <p:nvPr/>
        </p:nvSpPr>
        <p:spPr>
          <a:xfrm>
            <a:off x="772233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ti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ABEC29-B078-4989-B570-883C3C92AF43}"/>
              </a:ext>
            </a:extLst>
          </p:cNvPr>
          <p:cNvSpPr txBox="1"/>
          <p:nvPr/>
        </p:nvSpPr>
        <p:spPr>
          <a:xfrm>
            <a:off x="4089252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Selec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A9E69-119F-4FD5-8F4D-9DC4199D0B8E}"/>
              </a:ext>
            </a:extLst>
          </p:cNvPr>
          <p:cNvSpPr txBox="1"/>
          <p:nvPr/>
        </p:nvSpPr>
        <p:spPr>
          <a:xfrm>
            <a:off x="5707425" y="146228"/>
            <a:ext cx="1584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Evalu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3157F8-A116-46C7-94B8-27859E8F2D83}"/>
              </a:ext>
            </a:extLst>
          </p:cNvPr>
          <p:cNvSpPr txBox="1"/>
          <p:nvPr/>
        </p:nvSpPr>
        <p:spPr>
          <a:xfrm>
            <a:off x="7398103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Valid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2A1DDE-70C4-485B-812F-B9D2F04A6680}"/>
              </a:ext>
            </a:extLst>
          </p:cNvPr>
          <p:cNvSpPr txBox="1"/>
          <p:nvPr/>
        </p:nvSpPr>
        <p:spPr>
          <a:xfrm>
            <a:off x="9051221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Conclusion</a:t>
            </a:r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053DC5EA-5EF3-4CA2-ABEA-C0E1666AF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2</a:t>
            </a:fld>
            <a:endParaRPr lang="en-US" sz="18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E60575-A5D3-48EE-9413-1B9F26A5785E}"/>
              </a:ext>
            </a:extLst>
          </p:cNvPr>
          <p:cNvSpPr txBox="1"/>
          <p:nvPr/>
        </p:nvSpPr>
        <p:spPr>
          <a:xfrm>
            <a:off x="737288" y="1943140"/>
            <a:ext cx="11357086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ontext and Background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Critical metric in the food service industry is the service level at the restaurant level (e.g. do shipments of cases arrive on time and in the right quantity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In order to achieve high levels of service and staff logistics team appropriately, companies often turn to forecasting on a daily level to account for the ever-changing demand</a:t>
            </a:r>
          </a:p>
          <a:p>
            <a:endParaRPr lang="en-US" sz="2400" dirty="0"/>
          </a:p>
          <a:p>
            <a:r>
              <a:rPr lang="en-US" sz="2400" b="1" dirty="0"/>
              <a:t>Business Problem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Food service restaurants struggle with predicting the correct demand due to a variety of complexities such as limited time offerings, promotional seasons, changing customer demand, and external weather effec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We are provided a year of daily shipment data and the goal is identify the appropriate time series model to best model all year long shipment demand on a daily basis</a:t>
            </a:r>
          </a:p>
          <a:p>
            <a:pPr lvl="1"/>
            <a:endParaRPr lang="en-US" dirty="0"/>
          </a:p>
          <a:p>
            <a:r>
              <a:rPr lang="en-US" sz="2400" b="1" dirty="0"/>
              <a:t>Time Series Analysis Application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Times series analysis will allow us to 1) characterize the current shipment behavior and also 2) predict future shipment demand </a:t>
            </a:r>
          </a:p>
          <a:p>
            <a:endParaRPr lang="en-US" sz="24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AD930E-934F-46B6-A341-B1A1332962C1}"/>
              </a:ext>
            </a:extLst>
          </p:cNvPr>
          <p:cNvSpPr txBox="1"/>
          <p:nvPr/>
        </p:nvSpPr>
        <p:spPr>
          <a:xfrm>
            <a:off x="2259574" y="146228"/>
            <a:ext cx="1877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ssumptions/Description</a:t>
            </a:r>
          </a:p>
        </p:txBody>
      </p:sp>
    </p:spTree>
    <p:extLst>
      <p:ext uri="{BB962C8B-B14F-4D97-AF65-F5344CB8AC3E}">
        <p14:creationId xmlns:p14="http://schemas.microsoft.com/office/powerpoint/2010/main" val="2554455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46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B450F9E-C222-4C3B-B1FC-EFEC0F80D36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9325"/>
          <a:stretch/>
        </p:blipFill>
        <p:spPr>
          <a:xfrm>
            <a:off x="6971303" y="4893949"/>
            <a:ext cx="3813658" cy="957305"/>
          </a:xfrm>
          <a:prstGeom prst="rect">
            <a:avLst/>
          </a:prstGeom>
        </p:spPr>
      </p:pic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585216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/>
              <a:t>Our preliminary Exploratory of Shipment Narrows down the model Selec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6C209-7F94-4D7B-9C60-A976AE53AA89}"/>
              </a:ext>
            </a:extLst>
          </p:cNvPr>
          <p:cNvSpPr/>
          <p:nvPr/>
        </p:nvSpPr>
        <p:spPr>
          <a:xfrm>
            <a:off x="737288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6EB245-C02A-49B8-A777-89F6905BD6E0}"/>
              </a:ext>
            </a:extLst>
          </p:cNvPr>
          <p:cNvSpPr/>
          <p:nvPr/>
        </p:nvSpPr>
        <p:spPr>
          <a:xfrm>
            <a:off x="2390406" y="469805"/>
            <a:ext cx="1570465" cy="1154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F47B9-13B4-44D8-A73E-5CA9E4E5C835}"/>
              </a:ext>
            </a:extLst>
          </p:cNvPr>
          <p:cNvSpPr/>
          <p:nvPr/>
        </p:nvSpPr>
        <p:spPr>
          <a:xfrm>
            <a:off x="4068185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4EDD8-6FEA-4144-8EDE-942EF7A107B9}"/>
              </a:ext>
            </a:extLst>
          </p:cNvPr>
          <p:cNvSpPr/>
          <p:nvPr/>
        </p:nvSpPr>
        <p:spPr>
          <a:xfrm>
            <a:off x="5721303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82BCD5-16E0-4285-8104-333991809349}"/>
              </a:ext>
            </a:extLst>
          </p:cNvPr>
          <p:cNvSpPr/>
          <p:nvPr/>
        </p:nvSpPr>
        <p:spPr>
          <a:xfrm>
            <a:off x="7386262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B844B-0EB0-485A-91F7-E64B7F8989D6}"/>
              </a:ext>
            </a:extLst>
          </p:cNvPr>
          <p:cNvSpPr/>
          <p:nvPr/>
        </p:nvSpPr>
        <p:spPr>
          <a:xfrm>
            <a:off x="9039380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1E60A-9280-405D-A607-BAC09307E9EA}"/>
              </a:ext>
            </a:extLst>
          </p:cNvPr>
          <p:cNvSpPr txBox="1"/>
          <p:nvPr/>
        </p:nvSpPr>
        <p:spPr>
          <a:xfrm>
            <a:off x="772233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tiv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EA1DA5-8A08-4BDA-8A46-7E300D4E9B04}"/>
              </a:ext>
            </a:extLst>
          </p:cNvPr>
          <p:cNvSpPr txBox="1"/>
          <p:nvPr/>
        </p:nvSpPr>
        <p:spPr>
          <a:xfrm>
            <a:off x="2259574" y="146228"/>
            <a:ext cx="1877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ssumptions/Descrip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ABEC29-B078-4989-B570-883C3C92AF43}"/>
              </a:ext>
            </a:extLst>
          </p:cNvPr>
          <p:cNvSpPr txBox="1"/>
          <p:nvPr/>
        </p:nvSpPr>
        <p:spPr>
          <a:xfrm>
            <a:off x="4089252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Selec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A9E69-119F-4FD5-8F4D-9DC4199D0B8E}"/>
              </a:ext>
            </a:extLst>
          </p:cNvPr>
          <p:cNvSpPr txBox="1"/>
          <p:nvPr/>
        </p:nvSpPr>
        <p:spPr>
          <a:xfrm>
            <a:off x="5707425" y="146228"/>
            <a:ext cx="1584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Evalu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3157F8-A116-46C7-94B8-27859E8F2D83}"/>
              </a:ext>
            </a:extLst>
          </p:cNvPr>
          <p:cNvSpPr txBox="1"/>
          <p:nvPr/>
        </p:nvSpPr>
        <p:spPr>
          <a:xfrm>
            <a:off x="7398103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Valid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2A1DDE-70C4-485B-812F-B9D2F04A6680}"/>
              </a:ext>
            </a:extLst>
          </p:cNvPr>
          <p:cNvSpPr txBox="1"/>
          <p:nvPr/>
        </p:nvSpPr>
        <p:spPr>
          <a:xfrm>
            <a:off x="9051221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Conclusion</a:t>
            </a:r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174B613C-B7FD-4334-A137-E94B12D7F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3</a:t>
            </a:fld>
            <a:endParaRPr lang="en-US" sz="18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A44DF61-A2CA-4B67-B03A-1E5FB692D8FB}"/>
              </a:ext>
            </a:extLst>
          </p:cNvPr>
          <p:cNvSpPr txBox="1"/>
          <p:nvPr/>
        </p:nvSpPr>
        <p:spPr>
          <a:xfrm>
            <a:off x="723978" y="1884768"/>
            <a:ext cx="6583716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Descriptive Analysis &amp; Assumptions :</a:t>
            </a:r>
          </a:p>
          <a:p>
            <a:endParaRPr lang="en-US" dirty="0"/>
          </a:p>
          <a:p>
            <a:r>
              <a:rPr lang="en-US" b="1" dirty="0"/>
              <a:t>Trend: Stationary Valida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PSS (p = 0.0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F Testing (p = 0.61)</a:t>
            </a:r>
          </a:p>
          <a:p>
            <a:endParaRPr lang="en-US" dirty="0"/>
          </a:p>
          <a:p>
            <a:r>
              <a:rPr lang="en-US" b="1" dirty="0"/>
              <a:t>Seasonalit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tectable seasonality in a seven day interval (weekly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Cyclical Behavio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None detected in the shipment data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Univariate Predicto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aily Total Distance traveled should be positively correlate with more trips = more cases, one can see pattern reflected in time series display of both case and distanc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3A0225E-6865-4C25-B647-A0398659890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931" b="3807"/>
          <a:stretch/>
        </p:blipFill>
        <p:spPr>
          <a:xfrm>
            <a:off x="6681459" y="1621189"/>
            <a:ext cx="5158915" cy="315197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60B3AE0-5EA3-47BF-8810-481ECB32CAB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59325"/>
          <a:stretch/>
        </p:blipFill>
        <p:spPr>
          <a:xfrm>
            <a:off x="8026716" y="5794132"/>
            <a:ext cx="3813658" cy="957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7663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28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585216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/>
              <a:t>Our preliminary Exploratory of Shipment Highlights Likely  AR and </a:t>
            </a:r>
            <a:r>
              <a:rPr lang="en-US" sz="4000" cap="none" dirty="0"/>
              <a:t>s</a:t>
            </a:r>
            <a:r>
              <a:rPr lang="en-US" sz="4000" dirty="0"/>
              <a:t>MA ord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6C209-7F94-4D7B-9C60-A976AE53AA89}"/>
              </a:ext>
            </a:extLst>
          </p:cNvPr>
          <p:cNvSpPr/>
          <p:nvPr/>
        </p:nvSpPr>
        <p:spPr>
          <a:xfrm>
            <a:off x="737288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6EB245-C02A-49B8-A777-89F6905BD6E0}"/>
              </a:ext>
            </a:extLst>
          </p:cNvPr>
          <p:cNvSpPr/>
          <p:nvPr/>
        </p:nvSpPr>
        <p:spPr>
          <a:xfrm>
            <a:off x="2390406" y="469805"/>
            <a:ext cx="1570465" cy="1154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F47B9-13B4-44D8-A73E-5CA9E4E5C835}"/>
              </a:ext>
            </a:extLst>
          </p:cNvPr>
          <p:cNvSpPr/>
          <p:nvPr/>
        </p:nvSpPr>
        <p:spPr>
          <a:xfrm>
            <a:off x="4068185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4EDD8-6FEA-4144-8EDE-942EF7A107B9}"/>
              </a:ext>
            </a:extLst>
          </p:cNvPr>
          <p:cNvSpPr/>
          <p:nvPr/>
        </p:nvSpPr>
        <p:spPr>
          <a:xfrm>
            <a:off x="5721303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82BCD5-16E0-4285-8104-333991809349}"/>
              </a:ext>
            </a:extLst>
          </p:cNvPr>
          <p:cNvSpPr/>
          <p:nvPr/>
        </p:nvSpPr>
        <p:spPr>
          <a:xfrm>
            <a:off x="7386262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B844B-0EB0-485A-91F7-E64B7F8989D6}"/>
              </a:ext>
            </a:extLst>
          </p:cNvPr>
          <p:cNvSpPr/>
          <p:nvPr/>
        </p:nvSpPr>
        <p:spPr>
          <a:xfrm>
            <a:off x="9039380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1E60A-9280-405D-A607-BAC09307E9EA}"/>
              </a:ext>
            </a:extLst>
          </p:cNvPr>
          <p:cNvSpPr txBox="1"/>
          <p:nvPr/>
        </p:nvSpPr>
        <p:spPr>
          <a:xfrm>
            <a:off x="772233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ti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ABEC29-B078-4989-B570-883C3C92AF43}"/>
              </a:ext>
            </a:extLst>
          </p:cNvPr>
          <p:cNvSpPr txBox="1"/>
          <p:nvPr/>
        </p:nvSpPr>
        <p:spPr>
          <a:xfrm>
            <a:off x="4089252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Selec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A9E69-119F-4FD5-8F4D-9DC4199D0B8E}"/>
              </a:ext>
            </a:extLst>
          </p:cNvPr>
          <p:cNvSpPr txBox="1"/>
          <p:nvPr/>
        </p:nvSpPr>
        <p:spPr>
          <a:xfrm>
            <a:off x="5707425" y="146228"/>
            <a:ext cx="1584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Evalu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3157F8-A116-46C7-94B8-27859E8F2D83}"/>
              </a:ext>
            </a:extLst>
          </p:cNvPr>
          <p:cNvSpPr txBox="1"/>
          <p:nvPr/>
        </p:nvSpPr>
        <p:spPr>
          <a:xfrm>
            <a:off x="7398103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Valid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2A1DDE-70C4-485B-812F-B9D2F04A6680}"/>
              </a:ext>
            </a:extLst>
          </p:cNvPr>
          <p:cNvSpPr txBox="1"/>
          <p:nvPr/>
        </p:nvSpPr>
        <p:spPr>
          <a:xfrm>
            <a:off x="9051221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Conclusion</a:t>
            </a:r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174B613C-B7FD-4334-A137-E94B12D7F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4</a:t>
            </a:fld>
            <a:endParaRPr lang="en-US" sz="18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8B2D10-6F29-4D79-8DB6-B27676092492}"/>
              </a:ext>
            </a:extLst>
          </p:cNvPr>
          <p:cNvSpPr txBox="1"/>
          <p:nvPr/>
        </p:nvSpPr>
        <p:spPr>
          <a:xfrm>
            <a:off x="819942" y="2083037"/>
            <a:ext cx="108833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/>
              <a:t>ACF and PACF indicates the presence of a non-zero AR order and sMA order</a:t>
            </a:r>
          </a:p>
          <a:p>
            <a:r>
              <a:rPr lang="en-US" sz="2000" i="1" dirty="0"/>
              <a:t>First order differencing with lag of 7 is further strengthen with the associated ACF and PACF view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064EB56-90C1-4251-83AB-1352BBB180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8695" y="2820468"/>
            <a:ext cx="5781040" cy="35677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DAD100B-5DB5-4D74-94D6-B9397ADD15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60701" y="2820467"/>
            <a:ext cx="5781040" cy="356772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F08F729-5948-40B5-AB6F-D5E403287830}"/>
              </a:ext>
            </a:extLst>
          </p:cNvPr>
          <p:cNvSpPr txBox="1"/>
          <p:nvPr/>
        </p:nvSpPr>
        <p:spPr>
          <a:xfrm>
            <a:off x="2259574" y="146228"/>
            <a:ext cx="1877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ssumptions/Description</a:t>
            </a:r>
          </a:p>
        </p:txBody>
      </p:sp>
    </p:spTree>
    <p:extLst>
      <p:ext uri="{BB962C8B-B14F-4D97-AF65-F5344CB8AC3E}">
        <p14:creationId xmlns:p14="http://schemas.microsoft.com/office/powerpoint/2010/main" val="42185505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972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5066C5E-E51A-44AB-81D3-E5252EFB912C}"/>
              </a:ext>
            </a:extLst>
          </p:cNvPr>
          <p:cNvSpPr txBox="1"/>
          <p:nvPr/>
        </p:nvSpPr>
        <p:spPr>
          <a:xfrm>
            <a:off x="819941" y="1967627"/>
            <a:ext cx="1137205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/>
              <a:t>Due to the lack of large amounts of regressors, we ultimately settled on the three most practical model types, exponential smoothing, seasonal ARIMA models and Regression with ARIMA errors </a:t>
            </a:r>
          </a:p>
          <a:p>
            <a:endParaRPr lang="en-US" sz="2000" i="1" dirty="0"/>
          </a:p>
          <a:p>
            <a:r>
              <a:rPr lang="en-US" sz="2000" i="1" dirty="0"/>
              <a:t>We will use a training and holdout data set to execute a first pass on model evaluation for each of the models</a:t>
            </a:r>
          </a:p>
        </p:txBody>
      </p:sp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585216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/>
              <a:t>Build time series model based on Exponential Smoothing, sARIMA and Regression with Arima Erro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6C209-7F94-4D7B-9C60-A976AE53AA89}"/>
              </a:ext>
            </a:extLst>
          </p:cNvPr>
          <p:cNvSpPr/>
          <p:nvPr/>
        </p:nvSpPr>
        <p:spPr>
          <a:xfrm>
            <a:off x="737288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6EB245-C02A-49B8-A777-89F6905BD6E0}"/>
              </a:ext>
            </a:extLst>
          </p:cNvPr>
          <p:cNvSpPr/>
          <p:nvPr/>
        </p:nvSpPr>
        <p:spPr>
          <a:xfrm>
            <a:off x="2390406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F47B9-13B4-44D8-A73E-5CA9E4E5C835}"/>
              </a:ext>
            </a:extLst>
          </p:cNvPr>
          <p:cNvSpPr/>
          <p:nvPr/>
        </p:nvSpPr>
        <p:spPr>
          <a:xfrm>
            <a:off x="4068185" y="469805"/>
            <a:ext cx="1570465" cy="1154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4EDD8-6FEA-4144-8EDE-942EF7A107B9}"/>
              </a:ext>
            </a:extLst>
          </p:cNvPr>
          <p:cNvSpPr/>
          <p:nvPr/>
        </p:nvSpPr>
        <p:spPr>
          <a:xfrm>
            <a:off x="5721303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82BCD5-16E0-4285-8104-333991809349}"/>
              </a:ext>
            </a:extLst>
          </p:cNvPr>
          <p:cNvSpPr/>
          <p:nvPr/>
        </p:nvSpPr>
        <p:spPr>
          <a:xfrm>
            <a:off x="7386262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B844B-0EB0-485A-91F7-E64B7F8989D6}"/>
              </a:ext>
            </a:extLst>
          </p:cNvPr>
          <p:cNvSpPr/>
          <p:nvPr/>
        </p:nvSpPr>
        <p:spPr>
          <a:xfrm>
            <a:off x="9039380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1E60A-9280-405D-A607-BAC09307E9EA}"/>
              </a:ext>
            </a:extLst>
          </p:cNvPr>
          <p:cNvSpPr txBox="1"/>
          <p:nvPr/>
        </p:nvSpPr>
        <p:spPr>
          <a:xfrm>
            <a:off x="772233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ti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ABEC29-B078-4989-B570-883C3C92AF43}"/>
              </a:ext>
            </a:extLst>
          </p:cNvPr>
          <p:cNvSpPr txBox="1"/>
          <p:nvPr/>
        </p:nvSpPr>
        <p:spPr>
          <a:xfrm>
            <a:off x="4089252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Selec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A9E69-119F-4FD5-8F4D-9DC4199D0B8E}"/>
              </a:ext>
            </a:extLst>
          </p:cNvPr>
          <p:cNvSpPr txBox="1"/>
          <p:nvPr/>
        </p:nvSpPr>
        <p:spPr>
          <a:xfrm>
            <a:off x="5707425" y="146228"/>
            <a:ext cx="1584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Evalu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3157F8-A116-46C7-94B8-27859E8F2D83}"/>
              </a:ext>
            </a:extLst>
          </p:cNvPr>
          <p:cNvSpPr txBox="1"/>
          <p:nvPr/>
        </p:nvSpPr>
        <p:spPr>
          <a:xfrm>
            <a:off x="7398103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Valid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2A1DDE-70C4-485B-812F-B9D2F04A6680}"/>
              </a:ext>
            </a:extLst>
          </p:cNvPr>
          <p:cNvSpPr txBox="1"/>
          <p:nvPr/>
        </p:nvSpPr>
        <p:spPr>
          <a:xfrm>
            <a:off x="9051221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Conclusion</a:t>
            </a:r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8D1E904F-E192-436B-B14D-0F46D0C6D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5</a:t>
            </a:fld>
            <a:endParaRPr lang="en-US" sz="18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852BA1F-2FA6-4663-A43A-0E8F215D3C99}"/>
              </a:ext>
            </a:extLst>
          </p:cNvPr>
          <p:cNvGrpSpPr/>
          <p:nvPr/>
        </p:nvGrpSpPr>
        <p:grpSpPr>
          <a:xfrm>
            <a:off x="753633" y="3511360"/>
            <a:ext cx="11072393" cy="433230"/>
            <a:chOff x="737288" y="2563970"/>
            <a:chExt cx="9189032" cy="43323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8BFE8BA0-CB38-47E9-8B08-149B6207F874}"/>
                </a:ext>
              </a:extLst>
            </p:cNvPr>
            <p:cNvSpPr/>
            <p:nvPr/>
          </p:nvSpPr>
          <p:spPr>
            <a:xfrm>
              <a:off x="737288" y="2563970"/>
              <a:ext cx="2991432" cy="43323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xponential Smoothing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36CA9F3-A46C-42F9-851E-D1CB2C81DE29}"/>
                </a:ext>
              </a:extLst>
            </p:cNvPr>
            <p:cNvSpPr/>
            <p:nvPr/>
          </p:nvSpPr>
          <p:spPr>
            <a:xfrm>
              <a:off x="3836088" y="2563970"/>
              <a:ext cx="2991432" cy="43323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ARIMA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0C12749-2CBF-45B8-B618-98E0B27E16FC}"/>
                </a:ext>
              </a:extLst>
            </p:cNvPr>
            <p:cNvSpPr/>
            <p:nvPr/>
          </p:nvSpPr>
          <p:spPr>
            <a:xfrm>
              <a:off x="6934888" y="2563970"/>
              <a:ext cx="2991432" cy="43323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Regression with ARIMA Errors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8DB87402-9EAF-43DD-848F-B776680AEE72}"/>
              </a:ext>
            </a:extLst>
          </p:cNvPr>
          <p:cNvSpPr txBox="1"/>
          <p:nvPr/>
        </p:nvSpPr>
        <p:spPr>
          <a:xfrm>
            <a:off x="737288" y="4061065"/>
            <a:ext cx="37339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odel Rationale: </a:t>
            </a:r>
          </a:p>
          <a:p>
            <a:pPr marL="285750" indent="-285750">
              <a:buFontTx/>
              <a:buChar char="-"/>
            </a:pPr>
            <a:r>
              <a:rPr lang="en-US" dirty="0"/>
              <a:t>Easy to Execute</a:t>
            </a:r>
          </a:p>
          <a:p>
            <a:pPr marL="285750" indent="-285750">
              <a:buFontTx/>
              <a:buChar char="-"/>
            </a:pPr>
            <a:r>
              <a:rPr lang="en-US" dirty="0"/>
              <a:t>Provide a basis to compare the other models to a smoothing func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E38C6A2-2605-4904-A70D-D28D19FEA835}"/>
              </a:ext>
            </a:extLst>
          </p:cNvPr>
          <p:cNvSpPr txBox="1"/>
          <p:nvPr/>
        </p:nvSpPr>
        <p:spPr>
          <a:xfrm>
            <a:off x="4471211" y="4061065"/>
            <a:ext cx="373392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odel Rationale: </a:t>
            </a:r>
          </a:p>
          <a:p>
            <a:pPr marL="285750" indent="-285750">
              <a:buFontTx/>
              <a:buChar char="-"/>
            </a:pPr>
            <a:r>
              <a:rPr lang="en-US" dirty="0"/>
              <a:t>Detectable seasonality, clear AR and sMA order in the ACF/PACF model </a:t>
            </a:r>
          </a:p>
          <a:p>
            <a:pPr marL="285750" indent="-285750">
              <a:buFontTx/>
              <a:buChar char="-"/>
            </a:pPr>
            <a:r>
              <a:rPr lang="en-US" dirty="0"/>
              <a:t>Intuition suggest AR model will be key to a periodic operations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0CE36C9-1FC7-4F33-A554-3B5D2C9354AE}"/>
              </a:ext>
            </a:extLst>
          </p:cNvPr>
          <p:cNvSpPr txBox="1"/>
          <p:nvPr/>
        </p:nvSpPr>
        <p:spPr>
          <a:xfrm>
            <a:off x="8221478" y="4061065"/>
            <a:ext cx="373392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odel Rationale: </a:t>
            </a:r>
          </a:p>
          <a:p>
            <a:pPr marL="285750" indent="-285750">
              <a:buFontTx/>
              <a:buChar char="-"/>
            </a:pPr>
            <a:r>
              <a:rPr lang="en-US" dirty="0"/>
              <a:t>Univariate relationship between cases and distance</a:t>
            </a:r>
          </a:p>
          <a:p>
            <a:pPr marL="285750" indent="-285750">
              <a:buFontTx/>
              <a:buChar char="-"/>
            </a:pPr>
            <a:r>
              <a:rPr lang="en-US" dirty="0"/>
              <a:t>Model should predict the cases better with the addition of distance data, then allow errors to be handled with ARIM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02A74B6-D2DF-447D-AA49-B8660AD0DE2B}"/>
              </a:ext>
            </a:extLst>
          </p:cNvPr>
          <p:cNvSpPr txBox="1"/>
          <p:nvPr/>
        </p:nvSpPr>
        <p:spPr>
          <a:xfrm>
            <a:off x="2259574" y="146228"/>
            <a:ext cx="1877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ssumptions/Description</a:t>
            </a:r>
          </a:p>
        </p:txBody>
      </p:sp>
    </p:spTree>
    <p:extLst>
      <p:ext uri="{BB962C8B-B14F-4D97-AF65-F5344CB8AC3E}">
        <p14:creationId xmlns:p14="http://schemas.microsoft.com/office/powerpoint/2010/main" val="19830760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6687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585216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/>
              <a:t>Building Model for Exponential Smooth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6C209-7F94-4D7B-9C60-A976AE53AA89}"/>
              </a:ext>
            </a:extLst>
          </p:cNvPr>
          <p:cNvSpPr/>
          <p:nvPr/>
        </p:nvSpPr>
        <p:spPr>
          <a:xfrm>
            <a:off x="737288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6EB245-C02A-49B8-A777-89F6905BD6E0}"/>
              </a:ext>
            </a:extLst>
          </p:cNvPr>
          <p:cNvSpPr/>
          <p:nvPr/>
        </p:nvSpPr>
        <p:spPr>
          <a:xfrm>
            <a:off x="2390406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F47B9-13B4-44D8-A73E-5CA9E4E5C835}"/>
              </a:ext>
            </a:extLst>
          </p:cNvPr>
          <p:cNvSpPr/>
          <p:nvPr/>
        </p:nvSpPr>
        <p:spPr>
          <a:xfrm>
            <a:off x="4068185" y="469805"/>
            <a:ext cx="1570465" cy="1154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4EDD8-6FEA-4144-8EDE-942EF7A107B9}"/>
              </a:ext>
            </a:extLst>
          </p:cNvPr>
          <p:cNvSpPr/>
          <p:nvPr/>
        </p:nvSpPr>
        <p:spPr>
          <a:xfrm>
            <a:off x="5721303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82BCD5-16E0-4285-8104-333991809349}"/>
              </a:ext>
            </a:extLst>
          </p:cNvPr>
          <p:cNvSpPr/>
          <p:nvPr/>
        </p:nvSpPr>
        <p:spPr>
          <a:xfrm>
            <a:off x="7386262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B844B-0EB0-485A-91F7-E64B7F8989D6}"/>
              </a:ext>
            </a:extLst>
          </p:cNvPr>
          <p:cNvSpPr/>
          <p:nvPr/>
        </p:nvSpPr>
        <p:spPr>
          <a:xfrm>
            <a:off x="9039380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1E60A-9280-405D-A607-BAC09307E9EA}"/>
              </a:ext>
            </a:extLst>
          </p:cNvPr>
          <p:cNvSpPr txBox="1"/>
          <p:nvPr/>
        </p:nvSpPr>
        <p:spPr>
          <a:xfrm>
            <a:off x="772233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ti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ABEC29-B078-4989-B570-883C3C92AF43}"/>
              </a:ext>
            </a:extLst>
          </p:cNvPr>
          <p:cNvSpPr txBox="1"/>
          <p:nvPr/>
        </p:nvSpPr>
        <p:spPr>
          <a:xfrm>
            <a:off x="4089252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Selec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A9E69-119F-4FD5-8F4D-9DC4199D0B8E}"/>
              </a:ext>
            </a:extLst>
          </p:cNvPr>
          <p:cNvSpPr txBox="1"/>
          <p:nvPr/>
        </p:nvSpPr>
        <p:spPr>
          <a:xfrm>
            <a:off x="5707425" y="146228"/>
            <a:ext cx="1584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Evalu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3157F8-A116-46C7-94B8-27859E8F2D83}"/>
              </a:ext>
            </a:extLst>
          </p:cNvPr>
          <p:cNvSpPr txBox="1"/>
          <p:nvPr/>
        </p:nvSpPr>
        <p:spPr>
          <a:xfrm>
            <a:off x="7398103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Valid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2A1DDE-70C4-485B-812F-B9D2F04A6680}"/>
              </a:ext>
            </a:extLst>
          </p:cNvPr>
          <p:cNvSpPr txBox="1"/>
          <p:nvPr/>
        </p:nvSpPr>
        <p:spPr>
          <a:xfrm>
            <a:off x="9051221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Conclusion</a:t>
            </a:r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DB4B140C-4CF8-4F41-87F3-EF8E2F82A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6</a:t>
            </a:fld>
            <a:endParaRPr lang="en-US" sz="1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A33A51-24DC-4B6E-AFB2-B0DF5510A15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1651"/>
          <a:stretch/>
        </p:blipFill>
        <p:spPr>
          <a:xfrm>
            <a:off x="186124" y="2712148"/>
            <a:ext cx="6530399" cy="356063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A3C3D71-642B-4686-81D2-E7E957654B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04528" y="3684538"/>
            <a:ext cx="3959814" cy="2443771"/>
          </a:xfrm>
          <a:prstGeom prst="rect">
            <a:avLst/>
          </a:prstGeom>
        </p:spPr>
      </p:pic>
      <p:sp>
        <p:nvSpPr>
          <p:cNvPr id="27" name="Rectangle 27">
            <a:extLst>
              <a:ext uri="{FF2B5EF4-FFF2-40B4-BE49-F238E27FC236}">
                <a16:creationId xmlns:a16="http://schemas.microsoft.com/office/drawing/2014/main" id="{7E394082-2D10-48F7-8EA7-508C61CFA1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352" y="6305642"/>
            <a:ext cx="5814688" cy="24622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1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</a:rPr>
              <a:t>Note that smoothing parameters: alpha = 0.2236 gamma = 0.0903</a:t>
            </a:r>
            <a:endParaRPr kumimoji="0" lang="en-US" altLang="en-US" sz="36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5F72F1E-6F7B-498D-8F48-B21CEC621EE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73417" y="2474863"/>
            <a:ext cx="3590925" cy="120967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30B55034-3625-4B8D-8422-4879A6EFE2D9}"/>
              </a:ext>
            </a:extLst>
          </p:cNvPr>
          <p:cNvSpPr/>
          <p:nvPr/>
        </p:nvSpPr>
        <p:spPr>
          <a:xfrm>
            <a:off x="785001" y="1842252"/>
            <a:ext cx="113093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For our data have (A, N, A) - Additive Seasonality with level(alpha) and seasonal(gamma) smoothing parameters.</a:t>
            </a:r>
          </a:p>
        </p:txBody>
      </p:sp>
      <p:sp>
        <p:nvSpPr>
          <p:cNvPr id="30" name="Rectangle 27">
            <a:extLst>
              <a:ext uri="{FF2B5EF4-FFF2-40B4-BE49-F238E27FC236}">
                <a16:creationId xmlns:a16="http://schemas.microsoft.com/office/drawing/2014/main" id="{090AF8B7-7A0C-42EE-8127-95FB772348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3935" y="6305642"/>
            <a:ext cx="5068881" cy="24622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600" i="1" dirty="0">
                <a:solidFill>
                  <a:srgbClr val="000000"/>
                </a:solidFill>
              </a:rPr>
              <a:t>p-value &lt; 0.05; thus r</a:t>
            </a:r>
            <a:r>
              <a:rPr kumimoji="0" lang="en-US" altLang="en-US" sz="1600" b="0" i="1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</a:rPr>
              <a:t>esiduals are not completely independent </a:t>
            </a:r>
            <a:endParaRPr kumimoji="0" lang="en-US" altLang="en-US" sz="36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03D54B4-CD0E-402C-B480-A9D673F07FC9}"/>
              </a:ext>
            </a:extLst>
          </p:cNvPr>
          <p:cNvSpPr txBox="1"/>
          <p:nvPr/>
        </p:nvSpPr>
        <p:spPr>
          <a:xfrm>
            <a:off x="2259574" y="146228"/>
            <a:ext cx="1877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ssumptions/Description</a:t>
            </a:r>
          </a:p>
        </p:txBody>
      </p:sp>
    </p:spTree>
    <p:extLst>
      <p:ext uri="{BB962C8B-B14F-4D97-AF65-F5344CB8AC3E}">
        <p14:creationId xmlns:p14="http://schemas.microsoft.com/office/powerpoint/2010/main" val="28928009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1595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585216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/>
              <a:t>Building Model for SARIM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6C209-7F94-4D7B-9C60-A976AE53AA89}"/>
              </a:ext>
            </a:extLst>
          </p:cNvPr>
          <p:cNvSpPr/>
          <p:nvPr/>
        </p:nvSpPr>
        <p:spPr>
          <a:xfrm>
            <a:off x="737288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6EB245-C02A-49B8-A777-89F6905BD6E0}"/>
              </a:ext>
            </a:extLst>
          </p:cNvPr>
          <p:cNvSpPr/>
          <p:nvPr/>
        </p:nvSpPr>
        <p:spPr>
          <a:xfrm>
            <a:off x="2390406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F47B9-13B4-44D8-A73E-5CA9E4E5C835}"/>
              </a:ext>
            </a:extLst>
          </p:cNvPr>
          <p:cNvSpPr/>
          <p:nvPr/>
        </p:nvSpPr>
        <p:spPr>
          <a:xfrm>
            <a:off x="4068185" y="469805"/>
            <a:ext cx="1570465" cy="1154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4EDD8-6FEA-4144-8EDE-942EF7A107B9}"/>
              </a:ext>
            </a:extLst>
          </p:cNvPr>
          <p:cNvSpPr/>
          <p:nvPr/>
        </p:nvSpPr>
        <p:spPr>
          <a:xfrm>
            <a:off x="5721303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82BCD5-16E0-4285-8104-333991809349}"/>
              </a:ext>
            </a:extLst>
          </p:cNvPr>
          <p:cNvSpPr/>
          <p:nvPr/>
        </p:nvSpPr>
        <p:spPr>
          <a:xfrm>
            <a:off x="7386262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B844B-0EB0-485A-91F7-E64B7F8989D6}"/>
              </a:ext>
            </a:extLst>
          </p:cNvPr>
          <p:cNvSpPr/>
          <p:nvPr/>
        </p:nvSpPr>
        <p:spPr>
          <a:xfrm>
            <a:off x="9039380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1E60A-9280-405D-A607-BAC09307E9EA}"/>
              </a:ext>
            </a:extLst>
          </p:cNvPr>
          <p:cNvSpPr txBox="1"/>
          <p:nvPr/>
        </p:nvSpPr>
        <p:spPr>
          <a:xfrm>
            <a:off x="772233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ti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ABEC29-B078-4989-B570-883C3C92AF43}"/>
              </a:ext>
            </a:extLst>
          </p:cNvPr>
          <p:cNvSpPr txBox="1"/>
          <p:nvPr/>
        </p:nvSpPr>
        <p:spPr>
          <a:xfrm>
            <a:off x="4089252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Selec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A9E69-119F-4FD5-8F4D-9DC4199D0B8E}"/>
              </a:ext>
            </a:extLst>
          </p:cNvPr>
          <p:cNvSpPr txBox="1"/>
          <p:nvPr/>
        </p:nvSpPr>
        <p:spPr>
          <a:xfrm>
            <a:off x="5707425" y="146228"/>
            <a:ext cx="1584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Evalu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3157F8-A116-46C7-94B8-27859E8F2D83}"/>
              </a:ext>
            </a:extLst>
          </p:cNvPr>
          <p:cNvSpPr txBox="1"/>
          <p:nvPr/>
        </p:nvSpPr>
        <p:spPr>
          <a:xfrm>
            <a:off x="7398103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Valid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2A1DDE-70C4-485B-812F-B9D2F04A6680}"/>
              </a:ext>
            </a:extLst>
          </p:cNvPr>
          <p:cNvSpPr txBox="1"/>
          <p:nvPr/>
        </p:nvSpPr>
        <p:spPr>
          <a:xfrm>
            <a:off x="9051221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Conclusion</a:t>
            </a:r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A6E08020-2C2B-4023-8123-74FED4445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7</a:t>
            </a:fld>
            <a:endParaRPr lang="en-US" sz="18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8572B2-9804-4D05-A042-67B62EF27F00}"/>
              </a:ext>
            </a:extLst>
          </p:cNvPr>
          <p:cNvSpPr txBox="1"/>
          <p:nvPr/>
        </p:nvSpPr>
        <p:spPr>
          <a:xfrm>
            <a:off x="772232" y="1790756"/>
            <a:ext cx="1070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 our data we have Non-seasonality (</a:t>
            </a:r>
            <a:r>
              <a:rPr lang="en-US" dirty="0" err="1"/>
              <a:t>p,d,q</a:t>
            </a:r>
            <a:r>
              <a:rPr lang="en-US" dirty="0"/>
              <a:t>) as (2,0,0) and Seasonality (P,D,Q) as (0,1,1) with 7 day seasonality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707B174-40F3-4E9D-AE04-C4A57BBE2E9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2629"/>
          <a:stretch/>
        </p:blipFill>
        <p:spPr>
          <a:xfrm>
            <a:off x="200621" y="2554873"/>
            <a:ext cx="6585471" cy="35509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1CA6CC4-9D03-4648-85FF-598C6C87114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86092" y="3669497"/>
            <a:ext cx="4405298" cy="271869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239EA7C-2954-439B-98E7-8127A56E95A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75863" y="2494267"/>
            <a:ext cx="3727033" cy="1077917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49E593AE-DE47-41C8-BF8B-4E4BAA51BE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3935" y="6438204"/>
            <a:ext cx="5611425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600" i="1" dirty="0">
                <a:solidFill>
                  <a:srgbClr val="000000"/>
                </a:solidFill>
              </a:rPr>
              <a:t>p-value &gt;&gt; 0.05; thus r</a:t>
            </a:r>
            <a:r>
              <a:rPr kumimoji="0" lang="en-US" altLang="en-US" sz="1600" b="0" i="1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</a:rPr>
              <a:t>esiduals are independent </a:t>
            </a:r>
            <a:endParaRPr kumimoji="0" lang="en-US" altLang="en-US" sz="36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7BB56D7-AA6D-487F-B030-801C654F693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44136" y="6124125"/>
            <a:ext cx="2214659" cy="628158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7407924B-F336-4ECF-9D62-C2D5CC8C5A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4030" y="6267238"/>
            <a:ext cx="2938774" cy="49244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1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</a:rPr>
              <a:t>Significant AR and sMA coefficients</a:t>
            </a:r>
            <a:r>
              <a:rPr lang="en-US" altLang="en-US" sz="1600" i="1" dirty="0">
                <a:solidFill>
                  <a:srgbClr val="000000"/>
                </a:solidFill>
              </a:rPr>
              <a:t> for the model</a:t>
            </a:r>
            <a:endParaRPr kumimoji="0" lang="en-US" altLang="en-US" sz="36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45EE5C-C8A6-48EB-8626-8C5E32DBD83C}"/>
              </a:ext>
            </a:extLst>
          </p:cNvPr>
          <p:cNvSpPr txBox="1"/>
          <p:nvPr/>
        </p:nvSpPr>
        <p:spPr>
          <a:xfrm>
            <a:off x="2259574" y="146228"/>
            <a:ext cx="1877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ssumptions/Description</a:t>
            </a:r>
          </a:p>
        </p:txBody>
      </p:sp>
    </p:spTree>
    <p:extLst>
      <p:ext uri="{BB962C8B-B14F-4D97-AF65-F5344CB8AC3E}">
        <p14:creationId xmlns:p14="http://schemas.microsoft.com/office/powerpoint/2010/main" val="2603112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2167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55987F99-CC47-4FB8-81C7-FC49AF67909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0844"/>
          <a:stretch/>
        </p:blipFill>
        <p:spPr>
          <a:xfrm>
            <a:off x="452028" y="2808074"/>
            <a:ext cx="6559457" cy="3609134"/>
          </a:xfrm>
          <a:prstGeom prst="rect">
            <a:avLst/>
          </a:prstGeom>
        </p:spPr>
      </p:pic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585216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/>
              <a:t>Building Model for Regression with Arima Erro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6C209-7F94-4D7B-9C60-A976AE53AA89}"/>
              </a:ext>
            </a:extLst>
          </p:cNvPr>
          <p:cNvSpPr/>
          <p:nvPr/>
        </p:nvSpPr>
        <p:spPr>
          <a:xfrm>
            <a:off x="737288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6EB245-C02A-49B8-A777-89F6905BD6E0}"/>
              </a:ext>
            </a:extLst>
          </p:cNvPr>
          <p:cNvSpPr/>
          <p:nvPr/>
        </p:nvSpPr>
        <p:spPr>
          <a:xfrm>
            <a:off x="2390406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F47B9-13B4-44D8-A73E-5CA9E4E5C835}"/>
              </a:ext>
            </a:extLst>
          </p:cNvPr>
          <p:cNvSpPr/>
          <p:nvPr/>
        </p:nvSpPr>
        <p:spPr>
          <a:xfrm>
            <a:off x="4068185" y="469805"/>
            <a:ext cx="1570465" cy="1154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4EDD8-6FEA-4144-8EDE-942EF7A107B9}"/>
              </a:ext>
            </a:extLst>
          </p:cNvPr>
          <p:cNvSpPr/>
          <p:nvPr/>
        </p:nvSpPr>
        <p:spPr>
          <a:xfrm>
            <a:off x="5721303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82BCD5-16E0-4285-8104-333991809349}"/>
              </a:ext>
            </a:extLst>
          </p:cNvPr>
          <p:cNvSpPr/>
          <p:nvPr/>
        </p:nvSpPr>
        <p:spPr>
          <a:xfrm>
            <a:off x="7386262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B844B-0EB0-485A-91F7-E64B7F8989D6}"/>
              </a:ext>
            </a:extLst>
          </p:cNvPr>
          <p:cNvSpPr/>
          <p:nvPr/>
        </p:nvSpPr>
        <p:spPr>
          <a:xfrm>
            <a:off x="9039380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1E60A-9280-405D-A607-BAC09307E9EA}"/>
              </a:ext>
            </a:extLst>
          </p:cNvPr>
          <p:cNvSpPr txBox="1"/>
          <p:nvPr/>
        </p:nvSpPr>
        <p:spPr>
          <a:xfrm>
            <a:off x="772233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ti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ABEC29-B078-4989-B570-883C3C92AF43}"/>
              </a:ext>
            </a:extLst>
          </p:cNvPr>
          <p:cNvSpPr txBox="1"/>
          <p:nvPr/>
        </p:nvSpPr>
        <p:spPr>
          <a:xfrm>
            <a:off x="4089252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Selec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A9E69-119F-4FD5-8F4D-9DC4199D0B8E}"/>
              </a:ext>
            </a:extLst>
          </p:cNvPr>
          <p:cNvSpPr txBox="1"/>
          <p:nvPr/>
        </p:nvSpPr>
        <p:spPr>
          <a:xfrm>
            <a:off x="5707425" y="146228"/>
            <a:ext cx="1584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Evalu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3157F8-A116-46C7-94B8-27859E8F2D83}"/>
              </a:ext>
            </a:extLst>
          </p:cNvPr>
          <p:cNvSpPr txBox="1"/>
          <p:nvPr/>
        </p:nvSpPr>
        <p:spPr>
          <a:xfrm>
            <a:off x="7398103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Valid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2A1DDE-70C4-485B-812F-B9D2F04A6680}"/>
              </a:ext>
            </a:extLst>
          </p:cNvPr>
          <p:cNvSpPr txBox="1"/>
          <p:nvPr/>
        </p:nvSpPr>
        <p:spPr>
          <a:xfrm>
            <a:off x="9051221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Conclusion</a:t>
            </a:r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61476C5B-E8FE-4613-96A0-DF1F4EC47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8</a:t>
            </a:fld>
            <a:endParaRPr lang="en-US" sz="18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DF3048F-7FA7-4E95-B8CA-A717F38D66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3935" y="6144128"/>
            <a:ext cx="5611425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600" i="1" dirty="0">
                <a:solidFill>
                  <a:srgbClr val="000000"/>
                </a:solidFill>
              </a:rPr>
              <a:t>p-value &gt;&gt; 0.05; thus r</a:t>
            </a:r>
            <a:r>
              <a:rPr kumimoji="0" lang="en-US" altLang="en-US" sz="1600" b="0" i="1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</a:rPr>
              <a:t>esiduals are independent</a:t>
            </a:r>
            <a:endParaRPr kumimoji="0" lang="en-US" altLang="en-US" sz="36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45F071DE-9FC4-49DB-8400-08B8919ABE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11485" y="3255883"/>
            <a:ext cx="4374825" cy="269989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C03E8F0-7CBA-4984-83D8-36EE58C56C4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02210" y="2069605"/>
            <a:ext cx="4374825" cy="946477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930C1C1-7DC2-4BE4-8827-2795B83885F9}"/>
              </a:ext>
            </a:extLst>
          </p:cNvPr>
          <p:cNvSpPr txBox="1"/>
          <p:nvPr/>
        </p:nvSpPr>
        <p:spPr>
          <a:xfrm>
            <a:off x="772232" y="1790756"/>
            <a:ext cx="6156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 our data Regression with ARIMA error shows similar order but different </a:t>
            </a:r>
            <a:r>
              <a:rPr lang="en-US" dirty="0" err="1"/>
              <a:t>AICc</a:t>
            </a:r>
            <a:r>
              <a:rPr lang="en-US" dirty="0"/>
              <a:t> and lower MAPE, MAE and RMSE (See Next Slide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372A7E7-E8B8-4EBD-B27B-37CB2CF32DA2}"/>
              </a:ext>
            </a:extLst>
          </p:cNvPr>
          <p:cNvSpPr txBox="1"/>
          <p:nvPr/>
        </p:nvSpPr>
        <p:spPr>
          <a:xfrm>
            <a:off x="2259574" y="146228"/>
            <a:ext cx="1877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ssumptions/Description</a:t>
            </a:r>
          </a:p>
        </p:txBody>
      </p:sp>
    </p:spTree>
    <p:extLst>
      <p:ext uri="{BB962C8B-B14F-4D97-AF65-F5344CB8AC3E}">
        <p14:creationId xmlns:p14="http://schemas.microsoft.com/office/powerpoint/2010/main" val="838349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34892E-2919-4A6A-AB15-A2FAC05FAA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9640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34892E-2919-4A6A-AB15-A2FAC05FA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39530-797A-4C86-B6D7-50A8437FAE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pic>
        <p:nvPicPr>
          <p:cNvPr id="5" name="Picture 4" descr="Related image">
            <a:extLst>
              <a:ext uri="{FF2B5EF4-FFF2-40B4-BE49-F238E27FC236}">
                <a16:creationId xmlns:a16="http://schemas.microsoft.com/office/drawing/2014/main" id="{497A48AA-39BF-4C7F-8EE5-48A5C3976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0745" y="76572"/>
            <a:ext cx="1003629" cy="1017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B9E7F82-F69B-4EF8-A24E-8710845A9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41" y="585216"/>
            <a:ext cx="9720072" cy="1499616"/>
          </a:xfrm>
        </p:spPr>
        <p:txBody>
          <a:bodyPr>
            <a:noAutofit/>
          </a:bodyPr>
          <a:lstStyle/>
          <a:p>
            <a:r>
              <a:rPr lang="en-US" sz="4000" dirty="0"/>
              <a:t>Evaluation of each model AICC, MAPE and MSE Reveals a candidate model for shipment data forecast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6C209-7F94-4D7B-9C60-A976AE53AA89}"/>
              </a:ext>
            </a:extLst>
          </p:cNvPr>
          <p:cNvSpPr/>
          <p:nvPr/>
        </p:nvSpPr>
        <p:spPr>
          <a:xfrm>
            <a:off x="737288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6EB245-C02A-49B8-A777-89F6905BD6E0}"/>
              </a:ext>
            </a:extLst>
          </p:cNvPr>
          <p:cNvSpPr/>
          <p:nvPr/>
        </p:nvSpPr>
        <p:spPr>
          <a:xfrm>
            <a:off x="2390406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F47B9-13B4-44D8-A73E-5CA9E4E5C835}"/>
              </a:ext>
            </a:extLst>
          </p:cNvPr>
          <p:cNvSpPr/>
          <p:nvPr/>
        </p:nvSpPr>
        <p:spPr>
          <a:xfrm>
            <a:off x="4068185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4EDD8-6FEA-4144-8EDE-942EF7A107B9}"/>
              </a:ext>
            </a:extLst>
          </p:cNvPr>
          <p:cNvSpPr/>
          <p:nvPr/>
        </p:nvSpPr>
        <p:spPr>
          <a:xfrm>
            <a:off x="5721303" y="469805"/>
            <a:ext cx="1570465" cy="1154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82BCD5-16E0-4285-8104-333991809349}"/>
              </a:ext>
            </a:extLst>
          </p:cNvPr>
          <p:cNvSpPr/>
          <p:nvPr/>
        </p:nvSpPr>
        <p:spPr>
          <a:xfrm>
            <a:off x="7386262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B844B-0EB0-485A-91F7-E64B7F8989D6}"/>
              </a:ext>
            </a:extLst>
          </p:cNvPr>
          <p:cNvSpPr/>
          <p:nvPr/>
        </p:nvSpPr>
        <p:spPr>
          <a:xfrm>
            <a:off x="9039380" y="469805"/>
            <a:ext cx="1570465" cy="1154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81E60A-9280-405D-A607-BAC09307E9EA}"/>
              </a:ext>
            </a:extLst>
          </p:cNvPr>
          <p:cNvSpPr txBox="1"/>
          <p:nvPr/>
        </p:nvSpPr>
        <p:spPr>
          <a:xfrm>
            <a:off x="772233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ti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ABEC29-B078-4989-B570-883C3C92AF43}"/>
              </a:ext>
            </a:extLst>
          </p:cNvPr>
          <p:cNvSpPr txBox="1"/>
          <p:nvPr/>
        </p:nvSpPr>
        <p:spPr>
          <a:xfrm>
            <a:off x="4089252" y="146228"/>
            <a:ext cx="1535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Selec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2A9E69-119F-4FD5-8F4D-9DC4199D0B8E}"/>
              </a:ext>
            </a:extLst>
          </p:cNvPr>
          <p:cNvSpPr txBox="1"/>
          <p:nvPr/>
        </p:nvSpPr>
        <p:spPr>
          <a:xfrm>
            <a:off x="5707425" y="146228"/>
            <a:ext cx="1584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Evalu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3157F8-A116-46C7-94B8-27859E8F2D83}"/>
              </a:ext>
            </a:extLst>
          </p:cNvPr>
          <p:cNvSpPr txBox="1"/>
          <p:nvPr/>
        </p:nvSpPr>
        <p:spPr>
          <a:xfrm>
            <a:off x="7398103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Model Valid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2A1DDE-70C4-485B-812F-B9D2F04A6680}"/>
              </a:ext>
            </a:extLst>
          </p:cNvPr>
          <p:cNvSpPr txBox="1"/>
          <p:nvPr/>
        </p:nvSpPr>
        <p:spPr>
          <a:xfrm>
            <a:off x="9051221" y="146228"/>
            <a:ext cx="1558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Conclusion</a:t>
            </a:r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517E9503-97A7-4853-9BF7-16D75F272A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8425" y="6513460"/>
            <a:ext cx="973666" cy="274320"/>
          </a:xfrm>
        </p:spPr>
        <p:txBody>
          <a:bodyPr/>
          <a:lstStyle/>
          <a:p>
            <a:pPr algn="r"/>
            <a:fld id="{D9D72C15-D9C6-4AA3-9654-DAEBB4FA9E34}" type="slidenum">
              <a:rPr lang="en-US" sz="1800" smtClean="0"/>
              <a:pPr algn="r"/>
              <a:t>9</a:t>
            </a:fld>
            <a:endParaRPr lang="en-US" sz="1800" dirty="0"/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2AD5D9DA-5ECB-4DA5-AF32-38BBA72E51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6764838"/>
              </p:ext>
            </p:extLst>
          </p:nvPr>
        </p:nvGraphicFramePr>
        <p:xfrm>
          <a:off x="721358" y="2439942"/>
          <a:ext cx="11135360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3840">
                  <a:extLst>
                    <a:ext uri="{9D8B030D-6E8A-4147-A177-3AD203B41FA5}">
                      <a16:colId xmlns:a16="http://schemas.microsoft.com/office/drawing/2014/main" val="139104986"/>
                    </a:ext>
                  </a:extLst>
                </a:gridCol>
                <a:gridCol w="2783840">
                  <a:extLst>
                    <a:ext uri="{9D8B030D-6E8A-4147-A177-3AD203B41FA5}">
                      <a16:colId xmlns:a16="http://schemas.microsoft.com/office/drawing/2014/main" val="3586980862"/>
                    </a:ext>
                  </a:extLst>
                </a:gridCol>
                <a:gridCol w="2794002">
                  <a:extLst>
                    <a:ext uri="{9D8B030D-6E8A-4147-A177-3AD203B41FA5}">
                      <a16:colId xmlns:a16="http://schemas.microsoft.com/office/drawing/2014/main" val="2999723568"/>
                    </a:ext>
                  </a:extLst>
                </a:gridCol>
                <a:gridCol w="2773678">
                  <a:extLst>
                    <a:ext uri="{9D8B030D-6E8A-4147-A177-3AD203B41FA5}">
                      <a16:colId xmlns:a16="http://schemas.microsoft.com/office/drawing/2014/main" val="3123709909"/>
                    </a:ext>
                  </a:extLst>
                </a:gridCol>
              </a:tblGrid>
              <a:tr h="439910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Model Performance</a:t>
                      </a:r>
                    </a:p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Evalu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Exponential Smooth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latin typeface="+mj-lt"/>
                        </a:rPr>
                        <a:t>SARI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Regression with </a:t>
                      </a:r>
                    </a:p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ARIMA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396354"/>
                  </a:ext>
                </a:extLst>
              </a:tr>
              <a:tr h="380492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 err="1">
                          <a:latin typeface="+mj-lt"/>
                        </a:rPr>
                        <a:t>AICc</a:t>
                      </a:r>
                      <a:endParaRPr lang="en-US" sz="2400" b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7812.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6710.99</a:t>
                      </a:r>
                      <a:r>
                        <a:rPr lang="en-US" sz="2400" b="1" dirty="0">
                          <a:latin typeface="+mj-lt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6712.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7899561"/>
                  </a:ext>
                </a:extLst>
              </a:tr>
              <a:tr h="380492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Training M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4.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4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4.0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1326964"/>
                  </a:ext>
                </a:extLst>
              </a:tr>
              <a:tr h="380492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Holdout M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24.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24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23.9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3546949"/>
                  </a:ext>
                </a:extLst>
              </a:tr>
              <a:tr h="380492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Training RM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108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106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1058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5806990"/>
                  </a:ext>
                </a:extLst>
              </a:tr>
              <a:tr h="380492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Holdout RM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393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411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+mj-lt"/>
                        </a:rPr>
                        <a:t>405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0959873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7E20FABA-F901-4E9A-9609-076AEC71E11C}"/>
              </a:ext>
            </a:extLst>
          </p:cNvPr>
          <p:cNvSpPr txBox="1"/>
          <p:nvPr/>
        </p:nvSpPr>
        <p:spPr>
          <a:xfrm>
            <a:off x="737288" y="5741864"/>
            <a:ext cx="111353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Train and Holdout with accuracy analysis shows that either SARIMA or Regression with Arima Errors are good models to evaluate current and precited values; however we will use cross-validation to test which is the better model. Note that in the Regression with Arima Error the models are more stable from training to holdou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9624F35-ED3B-4E64-91FA-2DE14CC3C385}"/>
              </a:ext>
            </a:extLst>
          </p:cNvPr>
          <p:cNvSpPr/>
          <p:nvPr/>
        </p:nvSpPr>
        <p:spPr>
          <a:xfrm>
            <a:off x="6294420" y="2084832"/>
            <a:ext cx="5562298" cy="3464071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CC4ADE-10AA-4E54-9904-1E83263FE1AC}"/>
              </a:ext>
            </a:extLst>
          </p:cNvPr>
          <p:cNvSpPr txBox="1"/>
          <p:nvPr/>
        </p:nvSpPr>
        <p:spPr>
          <a:xfrm>
            <a:off x="6175578" y="2035442"/>
            <a:ext cx="55622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i="1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Likely Best Model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54B73E8-85CA-4277-B9C4-9FB4A1BCE1D2}"/>
              </a:ext>
            </a:extLst>
          </p:cNvPr>
          <p:cNvSpPr txBox="1"/>
          <p:nvPr/>
        </p:nvSpPr>
        <p:spPr>
          <a:xfrm>
            <a:off x="2259574" y="146228"/>
            <a:ext cx="1877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ssumptions/Description</a:t>
            </a:r>
          </a:p>
        </p:txBody>
      </p:sp>
    </p:spTree>
    <p:extLst>
      <p:ext uri="{BB962C8B-B14F-4D97-AF65-F5344CB8AC3E}">
        <p14:creationId xmlns:p14="http://schemas.microsoft.com/office/powerpoint/2010/main" val="3754153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b8BWmKRaeaDILjyEqt3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whwQQQN2R7TugDUaZVg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Custom 5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8C0122"/>
      </a:accent1>
      <a:accent2>
        <a:srgbClr val="8C0122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8000"/>
              </a:schemeClr>
              <a:schemeClr val="phClr">
                <a:shade val="89000"/>
                <a:satMod val="145000"/>
              </a:schemeClr>
            </a:duotone>
          </a:blip>
          <a:tile tx="0" ty="0" sx="32000" sy="32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</a:schemeClr>
              <a:schemeClr val="phClr">
                <a:shade val="95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090DCB5F-146D-478A-852A-34B16FE9F3A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2029</TotalTime>
  <Words>1233</Words>
  <Application>Microsoft Office PowerPoint</Application>
  <PresentationFormat>Widescreen</PresentationFormat>
  <Paragraphs>228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Tw Cen MT</vt:lpstr>
      <vt:lpstr>Tw Cen MT Condensed</vt:lpstr>
      <vt:lpstr>Wingdings 3</vt:lpstr>
      <vt:lpstr>Integral</vt:lpstr>
      <vt:lpstr>think-cell Slide</vt:lpstr>
      <vt:lpstr>Forecasting Food Service Shipment Demand Case Study Time Series Analysis and Forecasting for Shipment Data</vt:lpstr>
      <vt:lpstr>Accurate Forecasting of Food Service Demand Enable better Service Level and Resource allocation</vt:lpstr>
      <vt:lpstr>Our preliminary Exploratory of Shipment Narrows down the model Selection</vt:lpstr>
      <vt:lpstr>Our preliminary Exploratory of Shipment Highlights Likely  AR and sMA order</vt:lpstr>
      <vt:lpstr>Build time series model based on Exponential Smoothing, sARIMA and Regression with Arima Errors</vt:lpstr>
      <vt:lpstr>Building Model for Exponential Smoothing</vt:lpstr>
      <vt:lpstr>Building Model for SARIMA</vt:lpstr>
      <vt:lpstr>Building Model for Regression with Arima Errors</vt:lpstr>
      <vt:lpstr>Evaluation of each model AICC, MAPE and MSE Reveals a candidate model for shipment data forecasting</vt:lpstr>
      <vt:lpstr>Cross Validation also us to refine the better model and affirms our initial hypothesis</vt:lpstr>
      <vt:lpstr>AICc Testing allows us to determine both ARIMA models are better than ETS in prediction </vt:lpstr>
      <vt:lpstr>Choosing SARIMA as a Model FORECAST ALLOW us to best forecast shipment on a daily basis</vt:lpstr>
      <vt:lpstr>Appendix</vt:lpstr>
      <vt:lpstr>Case Study Final Project Roles and Responsibility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ong, Andrew</dc:creator>
  <cp:lastModifiedBy>Andrew Luong</cp:lastModifiedBy>
  <cp:revision>89</cp:revision>
  <dcterms:created xsi:type="dcterms:W3CDTF">2018-10-20T08:18:04Z</dcterms:created>
  <dcterms:modified xsi:type="dcterms:W3CDTF">2019-03-15T18:05:41Z</dcterms:modified>
</cp:coreProperties>
</file>